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sldIdLst>
    <p:sldId id="257" r:id="rId5"/>
    <p:sldId id="258" r:id="rId6"/>
    <p:sldId id="259" r:id="rId7"/>
    <p:sldId id="260" r:id="rId8"/>
    <p:sldId id="261" r:id="rId9"/>
    <p:sldId id="262" r:id="rId10"/>
    <p:sldId id="263" r:id="rId11"/>
    <p:sldId id="264" r:id="rId12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5" autoAdjust="0"/>
    <p:restoredTop sz="94660"/>
  </p:normalViewPr>
  <p:slideViewPr>
    <p:cSldViewPr snapToGrid="0">
      <p:cViewPr varScale="1">
        <p:scale>
          <a:sx n="116" d="100"/>
          <a:sy n="116" d="100"/>
        </p:scale>
        <p:origin x="138" y="34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microsoft.com/office/2007/relationships/hdphoto" Target="../media/hdphoto2.wdp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Source:</a:t>
            </a:r>
          </a:p>
          <a:p>
            <a:r>
              <a:rPr lang="en-US" dirty="0"/>
              <a:t>Notes: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4069DB7-BD92-42FC-963A-F010D7F460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608083"/>
            <a:ext cx="10962290" cy="456411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0643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9924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D97D4CC6-32AD-BCA7-E5DC-806815585B1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73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4071033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8604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3011536B-E5C4-A106-C81D-293D994FF16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1711724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3402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dark, lit&#10;&#10;Description automatically generated">
            <a:extLst>
              <a:ext uri="{FF2B5EF4-FFF2-40B4-BE49-F238E27FC236}">
                <a16:creationId xmlns:a16="http://schemas.microsoft.com/office/drawing/2014/main" id="{94B80643-DB53-93CF-0CC8-F5B0CC74C6E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76419788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5248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A41F8DC0-76D0-8840-4794-40095E1485F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1646013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251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3A320BF0-2CB7-7307-F4DF-D200AD3CD99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01663391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084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4591F0AA-87FF-62FE-5D42-09693E23D32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1391015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6650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road, dark&#10;&#10;Description automatically generated">
            <a:extLst>
              <a:ext uri="{FF2B5EF4-FFF2-40B4-BE49-F238E27FC236}">
                <a16:creationId xmlns:a16="http://schemas.microsoft.com/office/drawing/2014/main" id="{8D58678D-5B64-3781-4493-30D95C9EDAB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3131846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0922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7268DF-0D1B-2D93-A94B-382F22D1D19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02541" y="2186099"/>
            <a:ext cx="1354138" cy="2730500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5400" b="1" kern="1200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indent="0">
              <a:buNone/>
            </a:pPr>
            <a:r>
              <a:rPr lang="en-US" sz="5400" b="1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1</a:t>
            </a:r>
          </a:p>
          <a:p>
            <a:pPr marL="0" indent="0">
              <a:buNone/>
            </a:pPr>
            <a:r>
              <a:rPr lang="en-US" sz="5400" b="1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2</a:t>
            </a:r>
          </a:p>
          <a:p>
            <a:pPr marL="0" indent="0">
              <a:buNone/>
            </a:pPr>
            <a:r>
              <a:rPr lang="en-US" sz="5400" b="1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3</a:t>
            </a:r>
            <a:endParaRPr lang="en-US" sz="1600" b="1" dirty="0">
              <a:solidFill>
                <a:srgbClr val="000B0B"/>
              </a:solidFill>
              <a:latin typeface="Avenir Next LT Pro" panose="020B0504020202020204" pitchFamily="34" charset="77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9591AD-199E-A70A-9360-68820C39D0C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9681" y="2331426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 dirty="0"/>
              <a:t>Objectives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CF9CE85-3705-01D7-81C8-A9AD367411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09681" y="3209931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 dirty="0"/>
              <a:t>Objectives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endParaRPr lang="en-US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82B5B75-0F34-37CE-E770-B421C085D2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09681" y="4094298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 dirty="0"/>
              <a:t>Objectives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96ED341-6B69-D776-D498-64B4BD4F4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11587" y="1493698"/>
            <a:ext cx="10971942" cy="552450"/>
          </a:xfrm>
        </p:spPr>
        <p:txBody>
          <a:bodyPr>
            <a:noAutofit/>
          </a:bodyPr>
          <a:lstStyle>
            <a:lvl1pPr>
              <a:defRPr sz="2200" b="1"/>
            </a:lvl1pPr>
            <a:lvl5pPr marL="682625" indent="0">
              <a:buNone/>
              <a:defRPr/>
            </a:lvl5pPr>
          </a:lstStyle>
          <a:p>
            <a:pPr lvl="0"/>
            <a:r>
              <a:rPr lang="en-US" dirty="0"/>
              <a:t>For Our Discussion Today</a:t>
            </a:r>
          </a:p>
        </p:txBody>
      </p:sp>
    </p:spTree>
    <p:extLst>
      <p:ext uri="{BB962C8B-B14F-4D97-AF65-F5344CB8AC3E}">
        <p14:creationId xmlns:p14="http://schemas.microsoft.com/office/powerpoint/2010/main" val="305305010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dark blue bkgd">
    <p:bg>
      <p:bgPr>
        <a:solidFill>
          <a:srgbClr val="071E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34281986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blue b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16362073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Source:</a:t>
            </a:r>
          </a:p>
          <a:p>
            <a:r>
              <a:rPr lang="en-US" dirty="0"/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26532710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light blue bkg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30356254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492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BA45A60-5D16-E41D-32DF-B6C18EDF4E3C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2005873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3396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252A3CD-9F27-5AE1-225C-3361E5B5BB61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30693927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0299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 dirty="0">
              <a:solidFill>
                <a:schemeClr val="tx1"/>
              </a:solidFill>
            </a:endParaRPr>
          </a:p>
        </p:txBody>
      </p:sp>
      <p:pic>
        <p:nvPicPr>
          <p:cNvPr id="10" name="Picture 9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46FC3E1-FCFE-4BFC-896E-BE93A86F066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400942"/>
            <a:ext cx="616252" cy="26251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7BF1FFD-372D-1C59-527C-57A4B18E07F8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008197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022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pic>
        <p:nvPicPr>
          <p:cNvPr id="9" name="Picture 8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E76424F-251D-91B3-502B-FFA88D29D54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396759"/>
            <a:ext cx="616252" cy="2625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C5A66D-ACCA-FCA5-BB7A-6090A9490304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7710571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018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8839200" y="3"/>
            <a:ext cx="3352800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343697" y="1608083"/>
            <a:ext cx="2238704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730469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ase Study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396759"/>
            <a:ext cx="620111" cy="26251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3EBAC9E-9340-B35E-11EE-6AB60D024A56}"/>
              </a:ext>
            </a:extLst>
          </p:cNvPr>
          <p:cNvSpPr txBox="1"/>
          <p:nvPr/>
        </p:nvSpPr>
        <p:spPr>
          <a:xfrm>
            <a:off x="11267590" y="6447969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66CF8F-5A50-7E72-6C38-E2CAFD8EE8C3}"/>
              </a:ext>
            </a:extLst>
          </p:cNvPr>
          <p:cNvSpPr txBox="1"/>
          <p:nvPr/>
        </p:nvSpPr>
        <p:spPr>
          <a:xfrm>
            <a:off x="620110" y="6709205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9092294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&amp;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599" y="1681163"/>
            <a:ext cx="7315199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7315199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11563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48D1AD9-A85C-CC9C-2379-A294B91BF4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2157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8541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5182129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3CF7D59-AB3D-3F5F-F8BE-608E38ACA2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40027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734B5B5-E169-82B3-4823-63269CF0A0C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40027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58835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3D2EAEA-4A1A-4BD0-AAA4-E823F3352FAE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455562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F1A95F98-B444-45B3-B26F-E3A566F5AD2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455562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48473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anel small text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3045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0110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110" y="2510632"/>
            <a:ext cx="2564585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178CED2-08EF-4CF6-A179-4392DD35144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3386316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CB1AC188-4440-4EA7-A8C4-FD8FE5FF5D07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38631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A1EBFA0-4A27-4371-8AF1-C2D421D12632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9007306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78971224-A4C3-4B38-8487-E75903A9B75C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900730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F7C2B96-4B20-46A3-A648-DB8B6AEDC023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6235423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0E5215DC-8B13-45E7-AC26-B09A437B5B6E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6241099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06571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5029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9" name="Group 78">
            <a:extLst>
              <a:ext uri="{FF2B5EF4-FFF2-40B4-BE49-F238E27FC236}">
                <a16:creationId xmlns:a16="http://schemas.microsoft.com/office/drawing/2014/main" id="{B328026A-8319-44BC-B6B3-8D0A2B5E39A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AB780836-0EA1-4764-9C48-1217D0B297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06E5C381-914B-47AA-AE2B-28A2392478C7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B0DBDE80-DF7D-4696-AE00-4FF472F4B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EDAEE8C0-239A-4F5F-A01A-65BD5D44AA1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A4E68502-6F50-4E7B-AF1B-50A9EB649BDA}"/>
                </a:ext>
              </a:extLst>
            </p:cNvPr>
            <p:cNvSpPr>
              <a:spLocks/>
            </p:cNvSpPr>
            <p:nvPr/>
          </p:nvSpPr>
          <p:spPr bwMode="gray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0B294D58-DE2D-4091-BE0A-48E0C4BB11EB}"/>
                </a:ext>
              </a:extLst>
            </p:cNvPr>
            <p:cNvSpPr>
              <a:spLocks/>
            </p:cNvSpPr>
            <p:nvPr/>
          </p:nvSpPr>
          <p:spPr bwMode="gray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0326E64D-04ED-4ABB-93E4-447EB91A43C8}"/>
                </a:ext>
              </a:extLst>
            </p:cNvPr>
            <p:cNvSpPr>
              <a:spLocks/>
            </p:cNvSpPr>
            <p:nvPr/>
          </p:nvSpPr>
          <p:spPr bwMode="gray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B424A6A0-9FD6-41E0-A6B5-44DACE49A6D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0B3F0C38-DC97-4CD1-984E-7572735440B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6350261F-44E5-4C95-AA87-2DB3FC7643F6}"/>
                </a:ext>
              </a:extLst>
            </p:cNvPr>
            <p:cNvSpPr>
              <a:spLocks/>
            </p:cNvSpPr>
            <p:nvPr/>
          </p:nvSpPr>
          <p:spPr bwMode="gray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5AB7FC7D-55F6-4FAD-8462-71A4B975343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Rectangle 17">
              <a:extLst>
                <a:ext uri="{FF2B5EF4-FFF2-40B4-BE49-F238E27FC236}">
                  <a16:creationId xmlns:a16="http://schemas.microsoft.com/office/drawing/2014/main" id="{4BDA452B-8283-4B2A-A8D4-25BB7CF8BAA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804988" y="438150"/>
              <a:ext cx="11113" cy="619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57C01BEE-E1C7-4682-8761-33473C67DB6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id="{6ADD09EB-6CBD-4B56-B289-F1F1B730C703}"/>
                </a:ext>
              </a:extLst>
            </p:cNvPr>
            <p:cNvSpPr>
              <a:spLocks/>
            </p:cNvSpPr>
            <p:nvPr/>
          </p:nvSpPr>
          <p:spPr bwMode="gray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0">
              <a:extLst>
                <a:ext uri="{FF2B5EF4-FFF2-40B4-BE49-F238E27FC236}">
                  <a16:creationId xmlns:a16="http://schemas.microsoft.com/office/drawing/2014/main" id="{A7F46E3E-21DB-440A-836C-161975F9644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1">
              <a:extLst>
                <a:ext uri="{FF2B5EF4-FFF2-40B4-BE49-F238E27FC236}">
                  <a16:creationId xmlns:a16="http://schemas.microsoft.com/office/drawing/2014/main" id="{05C7460C-2718-41A8-B766-0DB3ABA769E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2">
              <a:extLst>
                <a:ext uri="{FF2B5EF4-FFF2-40B4-BE49-F238E27FC236}">
                  <a16:creationId xmlns:a16="http://schemas.microsoft.com/office/drawing/2014/main" id="{2383DB17-5CC3-49DC-A0C6-BE7B8C2DC75A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Rectangle 23">
              <a:extLst>
                <a:ext uri="{FF2B5EF4-FFF2-40B4-BE49-F238E27FC236}">
                  <a16:creationId xmlns:a16="http://schemas.microsoft.com/office/drawing/2014/main" id="{8F9BA604-1770-430B-A304-132F8EA6926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8501" y="-96838"/>
              <a:ext cx="88900" cy="422275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4">
              <a:extLst>
                <a:ext uri="{FF2B5EF4-FFF2-40B4-BE49-F238E27FC236}">
                  <a16:creationId xmlns:a16="http://schemas.microsoft.com/office/drawing/2014/main" id="{9CA311BE-EAED-478B-98A4-BF498FEC0E8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5">
              <a:extLst>
                <a:ext uri="{FF2B5EF4-FFF2-40B4-BE49-F238E27FC236}">
                  <a16:creationId xmlns:a16="http://schemas.microsoft.com/office/drawing/2014/main" id="{3B0E85FD-D0E6-43B5-9382-FF5952C2CFF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6">
              <a:extLst>
                <a:ext uri="{FF2B5EF4-FFF2-40B4-BE49-F238E27FC236}">
                  <a16:creationId xmlns:a16="http://schemas.microsoft.com/office/drawing/2014/main" id="{5FB98D20-7032-4D26-B1F1-7EA34F0B31E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7">
              <a:extLst>
                <a:ext uri="{FF2B5EF4-FFF2-40B4-BE49-F238E27FC236}">
                  <a16:creationId xmlns:a16="http://schemas.microsoft.com/office/drawing/2014/main" id="{2E699044-1520-4F88-8A17-6CF62388039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8">
              <a:extLst>
                <a:ext uri="{FF2B5EF4-FFF2-40B4-BE49-F238E27FC236}">
                  <a16:creationId xmlns:a16="http://schemas.microsoft.com/office/drawing/2014/main" id="{70DF0DD4-928C-48C0-BC35-CF6EED8953B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9">
              <a:extLst>
                <a:ext uri="{FF2B5EF4-FFF2-40B4-BE49-F238E27FC236}">
                  <a16:creationId xmlns:a16="http://schemas.microsoft.com/office/drawing/2014/main" id="{B1B76DE3-C2A7-4A83-B953-1F33FCA64DA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0">
              <a:extLst>
                <a:ext uri="{FF2B5EF4-FFF2-40B4-BE49-F238E27FC236}">
                  <a16:creationId xmlns:a16="http://schemas.microsoft.com/office/drawing/2014/main" id="{F7EEDA81-C08A-4DC4-8FF5-D29833551A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1">
              <a:extLst>
                <a:ext uri="{FF2B5EF4-FFF2-40B4-BE49-F238E27FC236}">
                  <a16:creationId xmlns:a16="http://schemas.microsoft.com/office/drawing/2014/main" id="{74011A3E-5D81-44C1-81C8-0E9C3D1613F8}"/>
                </a:ext>
              </a:extLst>
            </p:cNvPr>
            <p:cNvSpPr>
              <a:spLocks/>
            </p:cNvSpPr>
            <p:nvPr/>
          </p:nvSpPr>
          <p:spPr bwMode="gray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32">
              <a:extLst>
                <a:ext uri="{FF2B5EF4-FFF2-40B4-BE49-F238E27FC236}">
                  <a16:creationId xmlns:a16="http://schemas.microsoft.com/office/drawing/2014/main" id="{B85124B3-6C21-4594-A9A6-59A2C470C1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19451" y="-31750"/>
              <a:ext cx="17463" cy="1127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3">
              <a:extLst>
                <a:ext uri="{FF2B5EF4-FFF2-40B4-BE49-F238E27FC236}">
                  <a16:creationId xmlns:a16="http://schemas.microsoft.com/office/drawing/2014/main" id="{0C47C8D2-EDBD-422C-BAD0-54C40A72FBD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4">
              <a:extLst>
                <a:ext uri="{FF2B5EF4-FFF2-40B4-BE49-F238E27FC236}">
                  <a16:creationId xmlns:a16="http://schemas.microsoft.com/office/drawing/2014/main" id="{A40CB4FE-CD15-4C2F-9494-477D01BCD6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5">
              <a:extLst>
                <a:ext uri="{FF2B5EF4-FFF2-40B4-BE49-F238E27FC236}">
                  <a16:creationId xmlns:a16="http://schemas.microsoft.com/office/drawing/2014/main" id="{8578F2B6-A484-465A-8C41-7F0832C6D5D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36">
              <a:extLst>
                <a:ext uri="{FF2B5EF4-FFF2-40B4-BE49-F238E27FC236}">
                  <a16:creationId xmlns:a16="http://schemas.microsoft.com/office/drawing/2014/main" id="{BA0B863B-99FA-4614-A890-EF612AA0C02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37">
              <a:extLst>
                <a:ext uri="{FF2B5EF4-FFF2-40B4-BE49-F238E27FC236}">
                  <a16:creationId xmlns:a16="http://schemas.microsoft.com/office/drawing/2014/main" id="{8BF3FDF6-9666-4930-96E4-BC4E609DB24D}"/>
                </a:ext>
              </a:extLst>
            </p:cNvPr>
            <p:cNvSpPr>
              <a:spLocks/>
            </p:cNvSpPr>
            <p:nvPr/>
          </p:nvSpPr>
          <p:spPr bwMode="gray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38">
              <a:extLst>
                <a:ext uri="{FF2B5EF4-FFF2-40B4-BE49-F238E27FC236}">
                  <a16:creationId xmlns:a16="http://schemas.microsoft.com/office/drawing/2014/main" id="{097DB741-0174-4445-ACF0-2E111BD10440}"/>
                </a:ext>
              </a:extLst>
            </p:cNvPr>
            <p:cNvSpPr>
              <a:spLocks/>
            </p:cNvSpPr>
            <p:nvPr/>
          </p:nvSpPr>
          <p:spPr bwMode="gray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9">
              <a:extLst>
                <a:ext uri="{FF2B5EF4-FFF2-40B4-BE49-F238E27FC236}">
                  <a16:creationId xmlns:a16="http://schemas.microsoft.com/office/drawing/2014/main" id="{5339DFA6-7C0F-49F2-B455-8F6C2763AFB1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0">
              <a:extLst>
                <a:ext uri="{FF2B5EF4-FFF2-40B4-BE49-F238E27FC236}">
                  <a16:creationId xmlns:a16="http://schemas.microsoft.com/office/drawing/2014/main" id="{0EB02563-F1E0-4B91-8A08-45117DF2EC9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1">
              <a:extLst>
                <a:ext uri="{FF2B5EF4-FFF2-40B4-BE49-F238E27FC236}">
                  <a16:creationId xmlns:a16="http://schemas.microsoft.com/office/drawing/2014/main" id="{906C1324-2438-4CB8-B14E-FFDF0537B30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Rectangle 42">
              <a:extLst>
                <a:ext uri="{FF2B5EF4-FFF2-40B4-BE49-F238E27FC236}">
                  <a16:creationId xmlns:a16="http://schemas.microsoft.com/office/drawing/2014/main" id="{BEAF57B2-015F-40B8-AF84-515E59FF7B1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97163" y="153988"/>
              <a:ext cx="15875" cy="115888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3">
              <a:extLst>
                <a:ext uri="{FF2B5EF4-FFF2-40B4-BE49-F238E27FC236}">
                  <a16:creationId xmlns:a16="http://schemas.microsoft.com/office/drawing/2014/main" id="{CF6638C6-5E94-43FF-B8CB-2E4C6C8975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44">
              <a:extLst>
                <a:ext uri="{FF2B5EF4-FFF2-40B4-BE49-F238E27FC236}">
                  <a16:creationId xmlns:a16="http://schemas.microsoft.com/office/drawing/2014/main" id="{E43F4615-1DA6-4F95-A77B-12A91752972F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45">
              <a:extLst>
                <a:ext uri="{FF2B5EF4-FFF2-40B4-BE49-F238E27FC236}">
                  <a16:creationId xmlns:a16="http://schemas.microsoft.com/office/drawing/2014/main" id="{A31BF1F7-BE07-47E9-94AB-5CCD46FF8A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46">
              <a:extLst>
                <a:ext uri="{FF2B5EF4-FFF2-40B4-BE49-F238E27FC236}">
                  <a16:creationId xmlns:a16="http://schemas.microsoft.com/office/drawing/2014/main" id="{3A22ADA2-4714-4C31-B6E5-7A6DE6B2A6E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47">
              <a:extLst>
                <a:ext uri="{FF2B5EF4-FFF2-40B4-BE49-F238E27FC236}">
                  <a16:creationId xmlns:a16="http://schemas.microsoft.com/office/drawing/2014/main" id="{C31B1364-FEB4-4067-808C-3AB6A9DBEC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8">
              <a:extLst>
                <a:ext uri="{FF2B5EF4-FFF2-40B4-BE49-F238E27FC236}">
                  <a16:creationId xmlns:a16="http://schemas.microsoft.com/office/drawing/2014/main" id="{0058F51C-6920-4633-BD74-B7B7F911541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9">
              <a:extLst>
                <a:ext uri="{FF2B5EF4-FFF2-40B4-BE49-F238E27FC236}">
                  <a16:creationId xmlns:a16="http://schemas.microsoft.com/office/drawing/2014/main" id="{0E426658-42CE-4CFA-9C79-3A40251C8AD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0">
              <a:extLst>
                <a:ext uri="{FF2B5EF4-FFF2-40B4-BE49-F238E27FC236}">
                  <a16:creationId xmlns:a16="http://schemas.microsoft.com/office/drawing/2014/main" id="{8B1D0F47-BA80-466B-890A-7AFAA099276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1">
              <a:extLst>
                <a:ext uri="{FF2B5EF4-FFF2-40B4-BE49-F238E27FC236}">
                  <a16:creationId xmlns:a16="http://schemas.microsoft.com/office/drawing/2014/main" id="{9CC49CFE-C30A-45D7-9150-7EE856DA7C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52">
              <a:extLst>
                <a:ext uri="{FF2B5EF4-FFF2-40B4-BE49-F238E27FC236}">
                  <a16:creationId xmlns:a16="http://schemas.microsoft.com/office/drawing/2014/main" id="{A40FE52E-7390-4224-981F-5B9B6DC75BAE}"/>
                </a:ext>
              </a:extLst>
            </p:cNvPr>
            <p:cNvSpPr>
              <a:spLocks/>
            </p:cNvSpPr>
            <p:nvPr/>
          </p:nvSpPr>
          <p:spPr bwMode="gray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53">
              <a:extLst>
                <a:ext uri="{FF2B5EF4-FFF2-40B4-BE49-F238E27FC236}">
                  <a16:creationId xmlns:a16="http://schemas.microsoft.com/office/drawing/2014/main" id="{225F0FE3-9380-41E3-A971-A1DC24E451B0}"/>
                </a:ext>
              </a:extLst>
            </p:cNvPr>
            <p:cNvSpPr>
              <a:spLocks/>
            </p:cNvSpPr>
            <p:nvPr/>
          </p:nvSpPr>
          <p:spPr bwMode="gray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54">
              <a:extLst>
                <a:ext uri="{FF2B5EF4-FFF2-40B4-BE49-F238E27FC236}">
                  <a16:creationId xmlns:a16="http://schemas.microsoft.com/office/drawing/2014/main" id="{6AA00411-4F40-4847-97A9-4AB47DD95393}"/>
                </a:ext>
              </a:extLst>
            </p:cNvPr>
            <p:cNvSpPr>
              <a:spLocks/>
            </p:cNvSpPr>
            <p:nvPr/>
          </p:nvSpPr>
          <p:spPr bwMode="gray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55">
              <a:extLst>
                <a:ext uri="{FF2B5EF4-FFF2-40B4-BE49-F238E27FC236}">
                  <a16:creationId xmlns:a16="http://schemas.microsoft.com/office/drawing/2014/main" id="{5C5F2C34-52CC-46A3-8253-9C9F98D87E3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56">
              <a:extLst>
                <a:ext uri="{FF2B5EF4-FFF2-40B4-BE49-F238E27FC236}">
                  <a16:creationId xmlns:a16="http://schemas.microsoft.com/office/drawing/2014/main" id="{F3FA3044-1824-4008-9D96-843FADC68A8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57">
              <a:extLst>
                <a:ext uri="{FF2B5EF4-FFF2-40B4-BE49-F238E27FC236}">
                  <a16:creationId xmlns:a16="http://schemas.microsoft.com/office/drawing/2014/main" id="{741F03E7-CEFB-463E-B41D-FAFD19AFB475}"/>
                </a:ext>
              </a:extLst>
            </p:cNvPr>
            <p:cNvSpPr>
              <a:spLocks/>
            </p:cNvSpPr>
            <p:nvPr/>
          </p:nvSpPr>
          <p:spPr bwMode="gray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58">
              <a:extLst>
                <a:ext uri="{FF2B5EF4-FFF2-40B4-BE49-F238E27FC236}">
                  <a16:creationId xmlns:a16="http://schemas.microsoft.com/office/drawing/2014/main" id="{72E0C9EC-4353-4470-9B5B-8020BB5248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9">
              <a:extLst>
                <a:ext uri="{FF2B5EF4-FFF2-40B4-BE49-F238E27FC236}">
                  <a16:creationId xmlns:a16="http://schemas.microsoft.com/office/drawing/2014/main" id="{98B83E80-EEA6-4BB3-ABCB-5F9325CBE13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60">
              <a:extLst>
                <a:ext uri="{FF2B5EF4-FFF2-40B4-BE49-F238E27FC236}">
                  <a16:creationId xmlns:a16="http://schemas.microsoft.com/office/drawing/2014/main" id="{FE827C06-4B96-4A16-AD13-91F144096E7D}"/>
                </a:ext>
              </a:extLst>
            </p:cNvPr>
            <p:cNvSpPr>
              <a:spLocks/>
            </p:cNvSpPr>
            <p:nvPr/>
          </p:nvSpPr>
          <p:spPr bwMode="gray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61">
              <a:extLst>
                <a:ext uri="{FF2B5EF4-FFF2-40B4-BE49-F238E27FC236}">
                  <a16:creationId xmlns:a16="http://schemas.microsoft.com/office/drawing/2014/main" id="{9F5B7148-53F2-4CC5-9B1B-56B74DF15CFB}"/>
                </a:ext>
              </a:extLst>
            </p:cNvPr>
            <p:cNvSpPr>
              <a:spLocks/>
            </p:cNvSpPr>
            <p:nvPr/>
          </p:nvSpPr>
          <p:spPr bwMode="gray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62">
              <a:extLst>
                <a:ext uri="{FF2B5EF4-FFF2-40B4-BE49-F238E27FC236}">
                  <a16:creationId xmlns:a16="http://schemas.microsoft.com/office/drawing/2014/main" id="{751FCF45-B390-4115-A636-DB10FDE1DE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63">
              <a:extLst>
                <a:ext uri="{FF2B5EF4-FFF2-40B4-BE49-F238E27FC236}">
                  <a16:creationId xmlns:a16="http://schemas.microsoft.com/office/drawing/2014/main" id="{9059B125-F3A2-430A-99C1-BCE86CFF5F3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271713" y="-269875"/>
              <a:ext cx="12700" cy="7731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Oval 64">
              <a:extLst>
                <a:ext uri="{FF2B5EF4-FFF2-40B4-BE49-F238E27FC236}">
                  <a16:creationId xmlns:a16="http://schemas.microsoft.com/office/drawing/2014/main" id="{0F2051E8-EAF8-4E49-9A02-D04863AFED3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1226" y="-279400"/>
              <a:ext cx="119063" cy="120650"/>
            </a:xfrm>
            <a:prstGeom prst="ellipse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Oval 65">
              <a:extLst>
                <a:ext uri="{FF2B5EF4-FFF2-40B4-BE49-F238E27FC236}">
                  <a16:creationId xmlns:a16="http://schemas.microsoft.com/office/drawing/2014/main" id="{F222E149-4D3D-46E7-8E15-1380BD4165D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52476" y="-269875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Oval 66">
              <a:extLst>
                <a:ext uri="{FF2B5EF4-FFF2-40B4-BE49-F238E27FC236}">
                  <a16:creationId xmlns:a16="http://schemas.microsoft.com/office/drawing/2014/main" id="{8F12F9D8-1C12-49B1-AEFE-9723C9E81AB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9163" y="-103188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Oval 67">
              <a:extLst>
                <a:ext uri="{FF2B5EF4-FFF2-40B4-BE49-F238E27FC236}">
                  <a16:creationId xmlns:a16="http://schemas.microsoft.com/office/drawing/2014/main" id="{BAA348BF-2B1E-456C-9685-C53DCA4B383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27101" y="53975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Oval 68">
              <a:extLst>
                <a:ext uri="{FF2B5EF4-FFF2-40B4-BE49-F238E27FC236}">
                  <a16:creationId xmlns:a16="http://schemas.microsoft.com/office/drawing/2014/main" id="{41A1F4EA-78D7-4C65-8430-31B1D585F00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60413" y="-95250"/>
              <a:ext cx="87313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Oval 69">
              <a:extLst>
                <a:ext uri="{FF2B5EF4-FFF2-40B4-BE49-F238E27FC236}">
                  <a16:creationId xmlns:a16="http://schemas.microsoft.com/office/drawing/2014/main" id="{421EBBA9-8C4F-4295-8553-30463683964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11188" y="-261938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0" name="Title 1">
            <a:extLst>
              <a:ext uri="{FF2B5EF4-FFF2-40B4-BE49-F238E27FC236}">
                <a16:creationId xmlns:a16="http://schemas.microsoft.com/office/drawing/2014/main" id="{99B2FAE0-6F28-0B07-ABC2-210010161C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1" name="Text Placeholder 81">
            <a:extLst>
              <a:ext uri="{FF2B5EF4-FFF2-40B4-BE49-F238E27FC236}">
                <a16:creationId xmlns:a16="http://schemas.microsoft.com/office/drawing/2014/main" id="{AABBBD46-2D94-9A1E-1B0B-4EA66A5B81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2" name="Subtitle 2">
            <a:extLst>
              <a:ext uri="{FF2B5EF4-FFF2-40B4-BE49-F238E27FC236}">
                <a16:creationId xmlns:a16="http://schemas.microsoft.com/office/drawing/2014/main" id="{AE1C7A48-0D13-1059-2A8B-9267721FA7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35FA29A0-C03A-3277-5EF6-1E67883CD46A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0926329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390018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dark blue bc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2CDAAB41-4F5B-0002-62E7-0314002034DE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542955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38E2F1A-B34E-D69C-A57E-330971B04075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83109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410" imgH="409" progId="TCLayout.ActiveDocument.1">
                  <p:embed/>
                </p:oleObj>
              </mc:Choice>
              <mc:Fallback>
                <p:oleObj name="think-cell Slide" r:id="rId28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89C0743-AA73-0840-B62D-0DD113560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</p:spPr>
        <p:txBody>
          <a:bodyPr vert="horz" lIns="91440" tIns="0" rIns="91440" bIns="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B93CF6-2309-4345-AA1D-B104C260F8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08083"/>
            <a:ext cx="10962290" cy="45641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8CDE71-B946-DC7D-EEDB-2B57293F9294}"/>
              </a:ext>
            </a:extLst>
          </p:cNvPr>
          <p:cNvCxnSpPr>
            <a:cxnSpLocks/>
          </p:cNvCxnSpPr>
          <p:nvPr/>
        </p:nvCxnSpPr>
        <p:spPr>
          <a:xfrm>
            <a:off x="576393" y="-1905"/>
            <a:ext cx="0" cy="846841"/>
          </a:xfrm>
          <a:prstGeom prst="line">
            <a:avLst/>
          </a:prstGeom>
          <a:ln w="6350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25AB39C8-5319-0E6E-2410-4700706DC186}"/>
              </a:ext>
            </a:extLst>
          </p:cNvPr>
          <p:cNvSpPr txBox="1"/>
          <p:nvPr/>
        </p:nvSpPr>
        <p:spPr>
          <a:xfrm>
            <a:off x="11267590" y="6447560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 dirty="0">
              <a:solidFill>
                <a:schemeClr val="tx1"/>
              </a:solidFill>
            </a:endParaRPr>
          </a:p>
        </p:txBody>
      </p:sp>
      <p:pic>
        <p:nvPicPr>
          <p:cNvPr id="33" name="Picture 32" descr="Logo&#10;&#10;Description automatically generated">
            <a:extLst>
              <a:ext uri="{FF2B5EF4-FFF2-40B4-BE49-F238E27FC236}">
                <a16:creationId xmlns:a16="http://schemas.microsoft.com/office/drawing/2014/main" id="{413FB830-EF07-2827-2E9A-C62AEEB66DF9}"/>
              </a:ext>
            </a:extLst>
          </p:cNvPr>
          <p:cNvPicPr>
            <a:picLocks noChangeAspect="1"/>
          </p:cNvPicPr>
          <p:nvPr/>
        </p:nvPicPr>
        <p:blipFill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E893C4-3B90-E1F1-32DC-B0057DB39E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i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Source:</a:t>
            </a:r>
          </a:p>
          <a:p>
            <a:r>
              <a:rPr lang="en-US" dirty="0"/>
              <a:t>Notes: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2F644A6-12F2-3B17-6083-EE09484EBFF5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939428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717" r:id="rId2"/>
    <p:sldLayoutId id="2147483718" r:id="rId3"/>
    <p:sldLayoutId id="2147483691" r:id="rId4"/>
    <p:sldLayoutId id="2147483692" r:id="rId5"/>
    <p:sldLayoutId id="2147483716" r:id="rId6"/>
    <p:sldLayoutId id="2147483660" r:id="rId7"/>
    <p:sldLayoutId id="2147483675" r:id="rId8"/>
    <p:sldLayoutId id="2147483681" r:id="rId9"/>
    <p:sldLayoutId id="2147483726" r:id="rId10"/>
    <p:sldLayoutId id="2147483727" r:id="rId11"/>
    <p:sldLayoutId id="2147483723" r:id="rId12"/>
    <p:sldLayoutId id="2147483724" r:id="rId13"/>
    <p:sldLayoutId id="2147483725" r:id="rId14"/>
    <p:sldLayoutId id="2147483721" r:id="rId15"/>
    <p:sldLayoutId id="2147483722" r:id="rId16"/>
    <p:sldLayoutId id="2147483720" r:id="rId17"/>
    <p:sldLayoutId id="2147483683" r:id="rId18"/>
    <p:sldLayoutId id="2147483685" r:id="rId19"/>
    <p:sldLayoutId id="2147483684" r:id="rId20"/>
    <p:sldLayoutId id="2147483686" r:id="rId21"/>
    <p:sldLayoutId id="2147483714" r:id="rId22"/>
    <p:sldLayoutId id="2147483687" r:id="rId23"/>
    <p:sldLayoutId id="2147483715" r:id="rId24"/>
    <p:sldLayoutId id="2147483690" r:id="rId25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317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61963" indent="-230188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82625" indent="-220663" algn="l" defTabSz="914400" rtl="0" eaLnBrk="1" latinLnBrk="0" hangingPunct="1">
        <a:lnSpc>
          <a:spcPct val="90000"/>
        </a:lnSpc>
        <a:spcBef>
          <a:spcPts val="500"/>
        </a:spcBef>
        <a:buFont typeface="Avenir Next LT Pro" panose="020B05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862013" indent="-1793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296">
          <p15:clr>
            <a:srgbClr val="F26B43"/>
          </p15:clr>
        </p15:guide>
        <p15:guide id="4" pos="384">
          <p15:clr>
            <a:srgbClr val="F26B43"/>
          </p15:clr>
        </p15:guide>
        <p15:guide id="5" orient="horz" pos="38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8.xml"/><Relationship Id="rId4" Type="http://schemas.openxmlformats.org/officeDocument/2006/relationships/image" Target="../media/image1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9.xml"/><Relationship Id="rId4" Type="http://schemas.openxmlformats.org/officeDocument/2006/relationships/image" Target="../media/image1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Relationship Id="rId5" Type="http://schemas.openxmlformats.org/officeDocument/2006/relationships/image" Target="../media/image13.png"/><Relationship Id="rId4" Type="http://schemas.openxmlformats.org/officeDocument/2006/relationships/image" Target="../media/image1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5" Type="http://schemas.openxmlformats.org/officeDocument/2006/relationships/image" Target="../media/image14.png"/><Relationship Id="rId4" Type="http://schemas.openxmlformats.org/officeDocument/2006/relationships/image" Target="../media/image1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Relationship Id="rId5" Type="http://schemas.openxmlformats.org/officeDocument/2006/relationships/image" Target="../media/image15.png"/><Relationship Id="rId4" Type="http://schemas.openxmlformats.org/officeDocument/2006/relationships/image" Target="../media/image1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Relationship Id="rId5" Type="http://schemas.openxmlformats.org/officeDocument/2006/relationships/image" Target="../media/image16.png"/><Relationship Id="rId4" Type="http://schemas.openxmlformats.org/officeDocument/2006/relationships/image" Target="../media/image1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Relationship Id="rId5" Type="http://schemas.openxmlformats.org/officeDocument/2006/relationships/image" Target="../media/image17.png"/><Relationship Id="rId4" Type="http://schemas.openxmlformats.org/officeDocument/2006/relationships/image" Target="../media/image1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B176498-C3C6-044D-82AD-05EBC5678B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9751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Title 50">
            <a:extLst>
              <a:ext uri="{FF2B5EF4-FFF2-40B4-BE49-F238E27FC236}">
                <a16:creationId xmlns:a16="http://schemas.microsoft.com/office/drawing/2014/main" id="{BAF5EA54-CEEF-1F58-31C1-58D96DA4402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Sales Talent Productivity Risks and Remedies for 2023</a:t>
            </a:r>
          </a:p>
        </p:txBody>
      </p:sp>
      <p:sp>
        <p:nvSpPr>
          <p:cNvPr id="53" name="Text Placeholder 52">
            <a:extLst>
              <a:ext uri="{FF2B5EF4-FFF2-40B4-BE49-F238E27FC236}">
                <a16:creationId xmlns:a16="http://schemas.microsoft.com/office/drawing/2014/main" id="{06AD5D13-6517-F495-7C96-DDA377B75C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/>
              <a:t>January 27, 2023</a:t>
            </a:r>
          </a:p>
        </p:txBody>
      </p:sp>
      <p:sp>
        <p:nvSpPr>
          <p:cNvPr id="52" name="Subtitle 51">
            <a:extLst>
              <a:ext uri="{FF2B5EF4-FFF2-40B4-BE49-F238E27FC236}">
                <a16:creationId xmlns:a16="http://schemas.microsoft.com/office/drawing/2014/main" id="{89B92592-7C3F-65A4-EA17-C32550F7945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Explore pitfalls gathered in the SBI Fall 2022 CEO Survey and best practices for talent-related risks heading into 2023.</a:t>
            </a:r>
          </a:p>
        </p:txBody>
      </p:sp>
    </p:spTree>
    <p:extLst>
      <p:ext uri="{BB962C8B-B14F-4D97-AF65-F5344CB8AC3E}">
        <p14:creationId xmlns:p14="http://schemas.microsoft.com/office/powerpoint/2010/main" val="23513473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CC832D3-5368-32C3-DD34-9B2D808EB4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3258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07CFFA7-EA9D-5981-3311-F2DCABF7B6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ey Takeaway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27F715-A920-8CB9-F7E2-D93DD6EED9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4855" y="1632797"/>
            <a:ext cx="10962290" cy="4564117"/>
          </a:xfrm>
        </p:spPr>
        <p:txBody>
          <a:bodyPr anchor="t"/>
          <a:lstStyle/>
          <a:p>
            <a:pPr algn="l">
              <a:buFont typeface="+mj-lt"/>
              <a:buAutoNum type="arabicPeriod"/>
            </a:pPr>
            <a:r>
              <a:rPr lang="en-US" i="0" dirty="0">
                <a:solidFill>
                  <a:srgbClr val="212529"/>
                </a:solidFill>
                <a:effectLst/>
                <a:latin typeface="Work Sans" pitchFamily="2" charset="0"/>
              </a:rPr>
              <a:t> Planned hiring will be insufficient to adequately cover open territories</a:t>
            </a:r>
          </a:p>
          <a:p>
            <a:pPr marL="342900" indent="-342900" algn="l">
              <a:buFont typeface="+mj-lt"/>
              <a:buAutoNum type="arabicPeriod"/>
            </a:pPr>
            <a:endParaRPr lang="en-US" i="0" dirty="0">
              <a:solidFill>
                <a:srgbClr val="212529"/>
              </a:solidFill>
              <a:effectLst/>
              <a:latin typeface="Work Sans" pitchFamily="2" charset="0"/>
            </a:endParaRPr>
          </a:p>
          <a:p>
            <a:pPr algn="l">
              <a:buFont typeface="+mj-lt"/>
              <a:buAutoNum type="arabicPeriod"/>
            </a:pPr>
            <a:r>
              <a:rPr lang="en-US" i="0" dirty="0">
                <a:solidFill>
                  <a:srgbClr val="212529"/>
                </a:solidFill>
                <a:effectLst/>
                <a:latin typeface="Work Sans" pitchFamily="2" charset="0"/>
              </a:rPr>
              <a:t> Onboarding is insufficient to rapidly ramp new hires to productivity</a:t>
            </a:r>
          </a:p>
          <a:p>
            <a:pPr marL="342900" indent="-342900" algn="l">
              <a:buFont typeface="+mj-lt"/>
              <a:buAutoNum type="arabicPeriod"/>
            </a:pPr>
            <a:endParaRPr lang="en-US" i="0" dirty="0">
              <a:solidFill>
                <a:srgbClr val="212529"/>
              </a:solidFill>
              <a:effectLst/>
              <a:latin typeface="Work Sans" pitchFamily="2" charset="0"/>
            </a:endParaRPr>
          </a:p>
          <a:p>
            <a:pPr algn="l">
              <a:buFont typeface="+mj-lt"/>
              <a:buAutoNum type="arabicPeriod"/>
            </a:pPr>
            <a:r>
              <a:rPr lang="en-US" i="0" dirty="0">
                <a:solidFill>
                  <a:srgbClr val="212529"/>
                </a:solidFill>
                <a:effectLst/>
                <a:latin typeface="Work Sans" pitchFamily="2" charset="0"/>
              </a:rPr>
              <a:t> Identifying sources of employee burnout is necessary for sustained growth</a:t>
            </a:r>
          </a:p>
        </p:txBody>
      </p:sp>
    </p:spTree>
    <p:extLst>
      <p:ext uri="{BB962C8B-B14F-4D97-AF65-F5344CB8AC3E}">
        <p14:creationId xmlns:p14="http://schemas.microsoft.com/office/powerpoint/2010/main" val="31325889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99E669-FD8D-C23F-1631-D91B005FA8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0681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06BEE69-C85A-8B3A-D9F6-4699B0533B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lans to expand Sales headcount will be insufficient to adequately cover open territories (1/2)</a:t>
            </a:r>
          </a:p>
        </p:txBody>
      </p:sp>
      <p:pic>
        <p:nvPicPr>
          <p:cNvPr id="1026" name="Picture 2" descr="Headcount Expectations">
            <a:extLst>
              <a:ext uri="{FF2B5EF4-FFF2-40B4-BE49-F238E27FC236}">
                <a16:creationId xmlns:a16="http://schemas.microsoft.com/office/drawing/2014/main" id="{1F886721-D2C4-471A-1B2E-646E841A9E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8750" y="1252538"/>
            <a:ext cx="9334500" cy="4352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64388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99E669-FD8D-C23F-1631-D91B005FA8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6566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99E669-FD8D-C23F-1631-D91B005FA8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06BEE69-C85A-8B3A-D9F6-4699B0533B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lans to expand Sales headcount will be insufficient to adequately cover open territories (2/2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6A2594D-1924-F1B9-C379-6FAE15AF9C1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71587" y="1223962"/>
            <a:ext cx="9648825" cy="441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32607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99E669-FD8D-C23F-1631-D91B005FA8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3967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99E669-FD8D-C23F-1631-D91B005FA8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06BEE69-C85A-8B3A-D9F6-4699B0533B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hortcomings with onboarding new Sales hires is a significant risk (1/2)</a:t>
            </a:r>
            <a:br>
              <a:rPr lang="en-US" dirty="0"/>
            </a:br>
            <a:endParaRPr lang="en-US" dirty="0"/>
          </a:p>
        </p:txBody>
      </p:sp>
      <p:pic>
        <p:nvPicPr>
          <p:cNvPr id="2050" name="Picture 2" descr="Executive Agreement - We are highly productive in ramping new sales talent">
            <a:extLst>
              <a:ext uri="{FF2B5EF4-FFF2-40B4-BE49-F238E27FC236}">
                <a16:creationId xmlns:a16="http://schemas.microsoft.com/office/drawing/2014/main" id="{B4D97D4B-1BEB-563E-499D-FAF6E62623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8288" y="695325"/>
            <a:ext cx="9115425" cy="5467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622330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99E669-FD8D-C23F-1631-D91B005FA8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98512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99E669-FD8D-C23F-1631-D91B005FA8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06BEE69-C85A-8B3A-D9F6-4699B0533B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hortcomings with onboarding new Sales hires is a significant risk (2/2)</a:t>
            </a:r>
            <a:br>
              <a:rPr lang="en-US" dirty="0"/>
            </a:br>
            <a:endParaRPr lang="en-US" dirty="0"/>
          </a:p>
        </p:txBody>
      </p:sp>
      <p:pic>
        <p:nvPicPr>
          <p:cNvPr id="4098" name="Picture 2" descr="Expected Corporate Training Budget Changes">
            <a:extLst>
              <a:ext uri="{FF2B5EF4-FFF2-40B4-BE49-F238E27FC236}">
                <a16:creationId xmlns:a16="http://schemas.microsoft.com/office/drawing/2014/main" id="{127D8D0B-128C-7D30-41F6-4342CCB185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250" y="1319213"/>
            <a:ext cx="9715500" cy="4219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4957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99E669-FD8D-C23F-1631-D91B005FA8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4801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99E669-FD8D-C23F-1631-D91B005FA8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06BEE69-C85A-8B3A-D9F6-4699B0533B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Burnout among employees is a threat to productivity, but leaders aren’t clear on the drivers (1/2)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248226D-724B-30F1-FB45-1E2903E3E29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38287" y="723645"/>
            <a:ext cx="9115425" cy="5657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1017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99E669-FD8D-C23F-1631-D91B005FA8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99E669-FD8D-C23F-1631-D91B005FA8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06BEE69-C85A-8B3A-D9F6-4699B0533B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Burnout among employees is a threat to productivity, but leaders aren’t clear on the drivers (1/2)</a:t>
            </a:r>
          </a:p>
        </p:txBody>
      </p:sp>
      <p:pic>
        <p:nvPicPr>
          <p:cNvPr id="5122" name="Picture 2" descr="Potential Causes for Staff Burnout-1">
            <a:extLst>
              <a:ext uri="{FF2B5EF4-FFF2-40B4-BE49-F238E27FC236}">
                <a16:creationId xmlns:a16="http://schemas.microsoft.com/office/drawing/2014/main" id="{5A9E9951-8565-55C4-F503-56E7228AB2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5375" y="814388"/>
            <a:ext cx="10001250" cy="5229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91825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BI PPT 2022">
  <a:themeElements>
    <a:clrScheme name="SBI New Colors">
      <a:dk1>
        <a:srgbClr val="071E31"/>
      </a:dk1>
      <a:lt1>
        <a:srgbClr val="FFFFFF"/>
      </a:lt1>
      <a:dk2>
        <a:srgbClr val="071E31"/>
      </a:dk2>
      <a:lt2>
        <a:srgbClr val="E7E6E6"/>
      </a:lt2>
      <a:accent1>
        <a:srgbClr val="071E31"/>
      </a:accent1>
      <a:accent2>
        <a:srgbClr val="03327C"/>
      </a:accent2>
      <a:accent3>
        <a:srgbClr val="2391CF"/>
      </a:accent3>
      <a:accent4>
        <a:srgbClr val="7AC3F8"/>
      </a:accent4>
      <a:accent5>
        <a:srgbClr val="880E4F"/>
      </a:accent5>
      <a:accent6>
        <a:srgbClr val="F8B737"/>
      </a:accent6>
      <a:hlink>
        <a:srgbClr val="0563C1"/>
      </a:hlink>
      <a:folHlink>
        <a:srgbClr val="880E4F"/>
      </a:folHlink>
    </a:clrScheme>
    <a:fontScheme name="SBI Font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SBI PPT 2022" id="{5E45936B-3A31-4DBD-A719-35711901F56E}" vid="{A0C7F62E-8949-4985-834E-6924861C3B68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b71745fe-8e84-41ad-935b-7c5d8babdf9e"/>
    <lcf76f155ced4ddcb4097134ff3c332f xmlns="a3b0eac3-55b5-4ee4-ade7-be65d09c5d6e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745970336D75C4CAB2ECCCE65268DD7" ma:contentTypeVersion="7" ma:contentTypeDescription="Create a new document." ma:contentTypeScope="" ma:versionID="e7aa9398729ecd836fb008894030a5f8">
  <xsd:schema xmlns:xsd="http://www.w3.org/2001/XMLSchema" xmlns:xs="http://www.w3.org/2001/XMLSchema" xmlns:p="http://schemas.microsoft.com/office/2006/metadata/properties" xmlns:ns2="a3b0eac3-55b5-4ee4-ade7-be65d09c5d6e" xmlns:ns3="b71745fe-8e84-41ad-935b-7c5d8babdf9e" targetNamespace="http://schemas.microsoft.com/office/2006/metadata/properties" ma:root="true" ma:fieldsID="ec3c12987c3a742b987674668fdc1574" ns2:_="" ns3:_="">
    <xsd:import namespace="a3b0eac3-55b5-4ee4-ade7-be65d09c5d6e"/>
    <xsd:import namespace="b71745fe-8e84-41ad-935b-7c5d8babdf9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b0eac3-55b5-4ee4-ade7-be65d09c5d6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91b09f5f-bb09-4671-a415-1b43de82a03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71745fe-8e84-41ad-935b-7c5d8babdf9e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2ac26ba9-e713-4591-b7b4-aedaf132b945}" ma:internalName="TaxCatchAll" ma:showField="CatchAllData" ma:web="b71745fe-8e84-41ad-935b-7c5d8babdf9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75FD84F-F419-44B8-A58C-5C4CC9005EE6}">
  <ds:schemaRefs>
    <ds:schemaRef ds:uri="http://purl.org/dc/elements/1.1/"/>
    <ds:schemaRef ds:uri="http://purl.org/dc/dcmitype/"/>
    <ds:schemaRef ds:uri="a3b0eac3-55b5-4ee4-ade7-be65d09c5d6e"/>
    <ds:schemaRef ds:uri="http://www.w3.org/XML/1998/namespace"/>
    <ds:schemaRef ds:uri="http://schemas.microsoft.com/office/2006/documentManagement/types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b71745fe-8e84-41ad-935b-7c5d8babdf9e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B69F2319-1E19-41D5-8A52-447FE147E07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C3C1A05-8CDE-4BBE-BAC1-59A4E7ECBB4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3b0eac3-55b5-4ee4-ade7-be65d09c5d6e"/>
    <ds:schemaRef ds:uri="b71745fe-8e84-41ad-935b-7c5d8babdf9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7</TotalTime>
  <Words>165</Words>
  <Application>Microsoft Office PowerPoint</Application>
  <PresentationFormat>Widescreen</PresentationFormat>
  <Paragraphs>15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4" baseType="lpstr">
      <vt:lpstr>Arial</vt:lpstr>
      <vt:lpstr>Avenir Next LT Pro</vt:lpstr>
      <vt:lpstr>Courier New</vt:lpstr>
      <vt:lpstr>Work Sans</vt:lpstr>
      <vt:lpstr>SBI PPT 2022</vt:lpstr>
      <vt:lpstr>think-cell Slide</vt:lpstr>
      <vt:lpstr>Sales Talent Productivity Risks and Remedies for 2023</vt:lpstr>
      <vt:lpstr>Key Takeaways</vt:lpstr>
      <vt:lpstr>Plans to expand Sales headcount will be insufficient to adequately cover open territories (1/2)</vt:lpstr>
      <vt:lpstr>Plans to expand Sales headcount will be insufficient to adequately cover open territories (2/2)</vt:lpstr>
      <vt:lpstr>Shortcomings with onboarding new Sales hires is a significant risk (1/2) </vt:lpstr>
      <vt:lpstr>Shortcomings with onboarding new Sales hires is a significant risk (2/2) </vt:lpstr>
      <vt:lpstr>Burnout among employees is a threat to productivity, but leaders aren’t clear on the drivers (1/2)</vt:lpstr>
      <vt:lpstr>Burnout among employees is a threat to productivity, but leaders aren’t clear on the drivers (1/2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les Talent Productivity Risks and Remedies for 2023</dc:title>
  <dc:creator>Chris Brown</dc:creator>
  <cp:lastModifiedBy>Chris Brown</cp:lastModifiedBy>
  <cp:revision>1</cp:revision>
  <dcterms:created xsi:type="dcterms:W3CDTF">2023-02-01T18:54:42Z</dcterms:created>
  <dcterms:modified xsi:type="dcterms:W3CDTF">2023-02-01T19:02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745970336D75C4CAB2ECCCE65268DD7</vt:lpwstr>
  </property>
</Properties>
</file>